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62"/>
  </p:notesMasterIdLst>
  <p:handoutMasterIdLst>
    <p:handoutMasterId r:id="rId63"/>
  </p:handoutMasterIdLst>
  <p:sldIdLst>
    <p:sldId id="292" r:id="rId2"/>
    <p:sldId id="844" r:id="rId3"/>
    <p:sldId id="805" r:id="rId4"/>
    <p:sldId id="822" r:id="rId5"/>
    <p:sldId id="834" r:id="rId6"/>
    <p:sldId id="337" r:id="rId7"/>
    <p:sldId id="334" r:id="rId8"/>
    <p:sldId id="350" r:id="rId9"/>
    <p:sldId id="804" r:id="rId10"/>
    <p:sldId id="809" r:id="rId11"/>
    <p:sldId id="842" r:id="rId12"/>
    <p:sldId id="808" r:id="rId13"/>
    <p:sldId id="810" r:id="rId14"/>
    <p:sldId id="811" r:id="rId15"/>
    <p:sldId id="843" r:id="rId16"/>
    <p:sldId id="826" r:id="rId17"/>
    <p:sldId id="827" r:id="rId18"/>
    <p:sldId id="833" r:id="rId19"/>
    <p:sldId id="830" r:id="rId20"/>
    <p:sldId id="831" r:id="rId21"/>
    <p:sldId id="832" r:id="rId22"/>
    <p:sldId id="828" r:id="rId23"/>
    <p:sldId id="829" r:id="rId24"/>
    <p:sldId id="371" r:id="rId25"/>
    <p:sldId id="840" r:id="rId26"/>
    <p:sldId id="807" r:id="rId27"/>
    <p:sldId id="398" r:id="rId28"/>
    <p:sldId id="816" r:id="rId29"/>
    <p:sldId id="399" r:id="rId30"/>
    <p:sldId id="293" r:id="rId31"/>
    <p:sldId id="817" r:id="rId32"/>
    <p:sldId id="841" r:id="rId33"/>
    <p:sldId id="821" r:id="rId34"/>
    <p:sldId id="352" r:id="rId35"/>
    <p:sldId id="818" r:id="rId36"/>
    <p:sldId id="294" r:id="rId37"/>
    <p:sldId id="295" r:id="rId38"/>
    <p:sldId id="301" r:id="rId39"/>
    <p:sldId id="296" r:id="rId40"/>
    <p:sldId id="297" r:id="rId41"/>
    <p:sldId id="299" r:id="rId42"/>
    <p:sldId id="300" r:id="rId43"/>
    <p:sldId id="302" r:id="rId44"/>
    <p:sldId id="303" r:id="rId45"/>
    <p:sldId id="814" r:id="rId46"/>
    <p:sldId id="304" r:id="rId47"/>
    <p:sldId id="813" r:id="rId48"/>
    <p:sldId id="824" r:id="rId49"/>
    <p:sldId id="825" r:id="rId50"/>
    <p:sldId id="815" r:id="rId51"/>
    <p:sldId id="819" r:id="rId52"/>
    <p:sldId id="349" r:id="rId53"/>
    <p:sldId id="812" r:id="rId54"/>
    <p:sldId id="347" r:id="rId55"/>
    <p:sldId id="820" r:id="rId56"/>
    <p:sldId id="845" r:id="rId57"/>
    <p:sldId id="836" r:id="rId58"/>
    <p:sldId id="837" r:id="rId59"/>
    <p:sldId id="348" r:id="rId60"/>
    <p:sldId id="298" r:id="rId61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FF0000"/>
    <a:srgbClr val="A00000"/>
    <a:srgbClr val="8C0032"/>
    <a:srgbClr val="BC002B"/>
    <a:srgbClr val="C800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83"/>
    <p:restoredTop sz="92177"/>
  </p:normalViewPr>
  <p:slideViewPr>
    <p:cSldViewPr>
      <p:cViewPr varScale="1">
        <p:scale>
          <a:sx n="193" d="100"/>
          <a:sy n="193" d="100"/>
        </p:scale>
        <p:origin x="1496" y="1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2958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18/01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9.png"/><Relationship Id="rId7" Type="http://schemas.microsoft.com/office/2007/relationships/hdphoto" Target="../media/hdphoto4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microsoft.com/office/2007/relationships/hdphoto" Target="../media/hdphoto3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2.png"/><Relationship Id="rId7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microsoft.com/office/2007/relationships/hdphoto" Target="../media/hdphoto4.wdp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3.png"/><Relationship Id="rId4" Type="http://schemas.microsoft.com/office/2007/relationships/hdphoto" Target="../media/hdphoto3.wdp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Planches de COURS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13" y="4725144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Threats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3" y="1700808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Threats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s</a:t>
              </a:r>
              <a:endParaRPr lang="fr-FR" sz="1400" i="1" dirty="0">
                <a:latin typeface="+mn-lt"/>
              </a:endParaRP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2563168" y="1544273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563168" y="2389785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5371480" y="1544273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5384676" y="2443198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5384676" y="3717031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04689" y="3314727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061644" y="1673770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4075336" y="2192925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4493439" y="2804897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3715296" y="332656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3403712" y="908721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5681424" y="908721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1187624" y="1700808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8000" b="1" dirty="0" err="1">
                <a:solidFill>
                  <a:srgbClr val="898989"/>
                </a:solidFill>
                <a:latin typeface="Calibri" charset="0"/>
              </a:rPr>
              <a:t>Vulnerability</a:t>
            </a:r>
            <a:r>
              <a:rPr lang="fr-FR" sz="8000" b="1" dirty="0">
                <a:solidFill>
                  <a:srgbClr val="898989"/>
                </a:solidFill>
                <a:latin typeface="Calibri" charset="0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36190754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ert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4" y="2125398"/>
            <a:ext cx="17803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390956" y="2117153"/>
            <a:ext cx="16705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887761" y="2891500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83569" y="1301744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stCxn id="5" idx="1"/>
            <a:endCxn id="13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stCxn id="5" idx="1"/>
            <a:endCxn id="12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83571" y="2243956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887760" y="3585832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3171798" y="3880501"/>
            <a:ext cx="624671" cy="72284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1869641" y="5549923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3171798" y="5382238"/>
            <a:ext cx="926523" cy="42974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63941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244</TotalTime>
  <Words>2403</Words>
  <Application>Microsoft Macintosh PowerPoint</Application>
  <PresentationFormat>Affichage à l'écran (4:3)</PresentationFormat>
  <Paragraphs>810</Paragraphs>
  <Slides>60</Slides>
  <Notes>10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60</vt:i4>
      </vt:variant>
    </vt:vector>
  </HeadingPairs>
  <TitlesOfParts>
    <vt:vector size="70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Wingdings</vt:lpstr>
      <vt:lpstr>Wingdings 3</vt:lpstr>
      <vt:lpstr>CNAM</vt:lpstr>
      <vt:lpstr>Planches de COURS Sources pour les PDF LATEX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53</cp:revision>
  <dcterms:created xsi:type="dcterms:W3CDTF">2003-10-13T21:05:31Z</dcterms:created>
  <dcterms:modified xsi:type="dcterms:W3CDTF">2020-01-19T18:19:13Z</dcterms:modified>
</cp:coreProperties>
</file>